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12"/>
  </p:notesMasterIdLst>
  <p:handoutMasterIdLst>
    <p:handoutMasterId r:id="rId13"/>
  </p:handoutMasterIdLst>
  <p:sldIdLst>
    <p:sldId id="696" r:id="rId2"/>
    <p:sldId id="707" r:id="rId3"/>
    <p:sldId id="703" r:id="rId4"/>
    <p:sldId id="698" r:id="rId5"/>
    <p:sldId id="699" r:id="rId6"/>
    <p:sldId id="700" r:id="rId7"/>
    <p:sldId id="701" r:id="rId8"/>
    <p:sldId id="708" r:id="rId9"/>
    <p:sldId id="705" r:id="rId10"/>
    <p:sldId id="706" r:id="rId11"/>
  </p:sldIdLst>
  <p:sldSz cx="9602788" cy="6858000"/>
  <p:notesSz cx="7010400" cy="9296400"/>
  <p:custDataLst>
    <p:tags r:id="rId14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F6E6"/>
    <a:srgbClr val="FFFFCC"/>
    <a:srgbClr val="FFCCCC"/>
    <a:srgbClr val="FCE0E2"/>
    <a:srgbClr val="FFDDDD"/>
    <a:srgbClr val="008AB3"/>
    <a:srgbClr val="D7E4BD"/>
    <a:srgbClr val="FF0000"/>
    <a:srgbClr val="BFBFBF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100" d="100"/>
          <a:sy n="100" d="100"/>
        </p:scale>
        <p:origin x="-858" y="504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5213" y="696913"/>
            <a:ext cx="4883150" cy="34877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410" y="4415157"/>
            <a:ext cx="5609587" cy="4183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9949" lvl="0" indent="-229949" eaLnBrk="1" hangingPunct="1">
              <a:spcBef>
                <a:spcPct val="60000"/>
              </a:spcBef>
              <a:spcAft>
                <a:spcPts val="604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9846" lvl="2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9795" lvl="3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9744" lvl="4" indent="-229949" eaLnBrk="1" hangingPunct="1">
              <a:spcBef>
                <a:spcPts val="0"/>
              </a:spcBef>
              <a:spcAft>
                <a:spcPts val="604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9692" lvl="5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9641" lvl="6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39590" lvl="7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69539" lvl="8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617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5635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s-E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070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7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  <p:sldLayoutId id="2147483784" r:id="rId8"/>
    <p:sldLayoutId id="2147483785" r:id="rId9"/>
    <p:sldLayoutId id="2147483786" r:id="rId10"/>
    <p:sldLayoutId id="2147483787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55937" y="2963670"/>
            <a:ext cx="8550815" cy="350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SHUSA </a:t>
            </a:r>
            <a:r>
              <a:rPr lang="en-US" sz="2400" b="1" dirty="0" smtClean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COMMITTEE / BOARD</a:t>
            </a:r>
            <a:endParaRPr lang="en-US" sz="2400" b="1" dirty="0">
              <a:solidFill>
                <a:srgbClr val="FF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8" name="5 CuadroTexto"/>
          <p:cNvSpPr txBox="1"/>
          <p:nvPr/>
        </p:nvSpPr>
        <p:spPr>
          <a:xfrm>
            <a:off x="251570" y="5974930"/>
            <a:ext cx="5327193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0" hangingPunct="0">
              <a:defRPr/>
            </a:pP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Draft</a:t>
            </a:r>
            <a:endParaRPr lang="en-US" sz="14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9" name="5 CuadroTexto"/>
          <p:cNvSpPr txBox="1"/>
          <p:nvPr/>
        </p:nvSpPr>
        <p:spPr>
          <a:xfrm>
            <a:off x="3451568" y="174076"/>
            <a:ext cx="5887979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For </a:t>
            </a:r>
            <a:r>
              <a:rPr lang="en-US" sz="1400" b="1" dirty="0" smtClean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Review</a:t>
            </a:r>
            <a:endParaRPr lang="en-US" sz="1400" b="1" dirty="0">
              <a:solidFill>
                <a:srgbClr val="00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8435" y="4349163"/>
            <a:ext cx="8550815" cy="664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20000"/>
              </a:lnSpc>
              <a:spcBef>
                <a:spcPct val="0"/>
              </a:spcBef>
            </a:pPr>
            <a:r>
              <a:rPr lang="en-US" sz="18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SHUSA Risk Appetite</a:t>
            </a:r>
            <a:endParaRPr lang="en-US" sz="18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  <a:p>
            <a:pPr eaLnBrk="0" hangingPunct="0">
              <a:lnSpc>
                <a:spcPct val="120000"/>
              </a:lnSpc>
              <a:spcBef>
                <a:spcPct val="0"/>
              </a:spcBef>
            </a:pPr>
            <a:endParaRPr lang="en-US" sz="1800" i="1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55937" y="3313765"/>
            <a:ext cx="8550815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b="1" dirty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HUSA Risk Appetite 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tatement– June Report</a:t>
            </a:r>
          </a:p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June 2016</a:t>
            </a:r>
            <a:endParaRPr lang="en-US" sz="1800" dirty="0">
              <a:solidFill>
                <a:prstClr val="black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05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5. Additional </a:t>
            </a:r>
            <a:r>
              <a:rPr lang="en-US" dirty="0"/>
              <a:t>metrics required for Group reporting only </a:t>
            </a:r>
            <a:r>
              <a:rPr lang="en-US" dirty="0" smtClean="0"/>
              <a:t>(</a:t>
            </a:r>
            <a:r>
              <a:rPr lang="en-US" dirty="0"/>
              <a:t>3</a:t>
            </a:r>
            <a:r>
              <a:rPr lang="en-US" dirty="0" smtClean="0"/>
              <a:t>/3)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3497495"/>
              </p:ext>
            </p:extLst>
          </p:nvPr>
        </p:nvGraphicFramePr>
        <p:xfrm>
          <a:off x="350838" y="944245"/>
          <a:ext cx="8891847" cy="4998720"/>
        </p:xfrm>
        <a:graphic>
          <a:graphicData uri="http://schemas.openxmlformats.org/drawingml/2006/table">
            <a:tbl>
              <a:tblPr firstRow="1" bandRow="1"/>
              <a:tblGrid>
                <a:gridCol w="1297900"/>
                <a:gridCol w="2325179"/>
                <a:gridCol w="969557"/>
                <a:gridCol w="898114"/>
                <a:gridCol w="1133699"/>
                <a:gridCol w="1133699"/>
                <a:gridCol w="1133699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Jun 16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Mar 16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Additional metric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 t</a:t>
                      </a: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hreshold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 rowSpan="17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 risk</a:t>
                      </a:r>
                    </a:p>
                  </a:txBody>
                  <a:tcPr marL="0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evant OR Events R1 (number)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strike="noStrik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0" marR="4530" marT="453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strike="noStrik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Card $ Fraud Ratio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%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bit Card $ Fraud Ratio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7%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Card # Fraud Ratio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bit Card # Fraud Ratio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ine Banking Fraud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 Relevant Incidents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0" marR="4530" marT="453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</a:t>
                      </a:r>
                      <a:r>
                        <a:rPr lang="en-US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ystems Availability (%)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0" marR="4530" marT="453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ems with Obsolete Operating Systems (%)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0" marR="4530" marT="453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hical Hacking Vulnerabilities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0" marR="4530" marT="453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4683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ers with Security</a:t>
                      </a:r>
                      <a:r>
                        <a:rPr lang="en-US" sz="11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mpliant Operating Systems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%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0" marR="4530" marT="453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48014" marR="4801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Footnote"/>
          <p:cNvSpPr/>
          <p:nvPr/>
        </p:nvSpPr>
        <p:spPr>
          <a:xfrm>
            <a:off x="2228518" y="6332539"/>
            <a:ext cx="5000958" cy="92654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/>
            <a:r>
              <a:rPr lang="en-US" sz="700" dirty="0">
                <a:latin typeface="Arial"/>
                <a:ea typeface="ＭＳ Ｐゴシック"/>
                <a:sym typeface="Arial"/>
              </a:rPr>
              <a:t>See Metric Glossary in appendix for metric definitions</a:t>
            </a:r>
          </a:p>
        </p:txBody>
      </p:sp>
    </p:spTree>
    <p:extLst>
      <p:ext uri="{BB962C8B-B14F-4D97-AF65-F5344CB8AC3E}">
        <p14:creationId xmlns:p14="http://schemas.microsoft.com/office/powerpoint/2010/main" val="426516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66744" y="248489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eaLnBrk="0" hangingPunct="0">
              <a:defRPr sz="2000" b="1">
                <a:solidFill>
                  <a:prstClr val="black"/>
                </a:solidFill>
                <a:ea typeface="MS PGothic" pitchFamily="34" charset="-128"/>
              </a:defRPr>
            </a:lvl1pPr>
          </a:lstStyle>
          <a:p>
            <a:r>
              <a:rPr lang="en-US" dirty="0"/>
              <a:t>2. Risk Appetite Statement Dashboard</a:t>
            </a:r>
          </a:p>
        </p:txBody>
      </p:sp>
      <p:grpSp>
        <p:nvGrpSpPr>
          <p:cNvPr id="154" name="Group 153"/>
          <p:cNvGrpSpPr/>
          <p:nvPr/>
        </p:nvGrpSpPr>
        <p:grpSpPr>
          <a:xfrm>
            <a:off x="365785" y="6636117"/>
            <a:ext cx="2720794" cy="105863"/>
            <a:chOff x="1201643" y="6031365"/>
            <a:chExt cx="3491000" cy="140904"/>
          </a:xfrm>
        </p:grpSpPr>
        <p:sp>
          <p:nvSpPr>
            <p:cNvPr id="155" name="80 CuadroTexto"/>
            <p:cNvSpPr txBox="1"/>
            <p:nvPr/>
          </p:nvSpPr>
          <p:spPr bwMode="gray">
            <a:xfrm>
              <a:off x="1358881" y="6031365"/>
              <a:ext cx="1138487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Focus of concern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6" name="80 CuadroTexto"/>
            <p:cNvSpPr txBox="1"/>
            <p:nvPr/>
          </p:nvSpPr>
          <p:spPr bwMode="gray">
            <a:xfrm>
              <a:off x="2533608" y="6031365"/>
              <a:ext cx="993775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Area of attention 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7" name="80 CuadroTexto"/>
            <p:cNvSpPr txBox="1"/>
            <p:nvPr/>
          </p:nvSpPr>
          <p:spPr bwMode="gray">
            <a:xfrm>
              <a:off x="3785070" y="6031365"/>
              <a:ext cx="907573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>
                  <a:solidFill>
                    <a:srgbClr val="515151"/>
                  </a:solidFill>
                  <a:ea typeface="MS PGothic" pitchFamily="34" charset="-128"/>
                </a:rPr>
                <a:t>Not a concern</a:t>
              </a:r>
            </a:p>
          </p:txBody>
        </p:sp>
        <p:sp>
          <p:nvSpPr>
            <p:cNvPr id="158" name="116 Elipse"/>
            <p:cNvSpPr/>
            <p:nvPr/>
          </p:nvSpPr>
          <p:spPr bwMode="gray">
            <a:xfrm>
              <a:off x="3622233" y="6037858"/>
              <a:ext cx="120077" cy="120078"/>
            </a:xfrm>
            <a:prstGeom prst="ellipse">
              <a:avLst/>
            </a:prstGeom>
            <a:solidFill>
              <a:srgbClr val="6699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9" name="117 Elipse"/>
            <p:cNvSpPr/>
            <p:nvPr/>
          </p:nvSpPr>
          <p:spPr bwMode="gray">
            <a:xfrm>
              <a:off x="2381418" y="6037858"/>
              <a:ext cx="120077" cy="120078"/>
            </a:xfrm>
            <a:prstGeom prst="ellipse">
              <a:avLst/>
            </a:prstGeom>
            <a:solidFill>
              <a:srgbClr val="FFCC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0" name="119 Elipse"/>
            <p:cNvSpPr/>
            <p:nvPr/>
          </p:nvSpPr>
          <p:spPr bwMode="gray">
            <a:xfrm>
              <a:off x="1201643" y="6037857"/>
              <a:ext cx="120078" cy="120078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3150510" y="5357742"/>
            <a:ext cx="6330762" cy="198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457200" fontAlgn="t">
              <a:defRPr/>
            </a:pPr>
            <a:r>
              <a:rPr lang="en-US" sz="800" dirty="0">
                <a:solidFill>
                  <a:srgbClr val="9D9D9C"/>
                </a:solidFill>
                <a:ea typeface="MS PGothic" pitchFamily="34" charset="-128"/>
                <a:cs typeface="Arial" panose="020B0604020202020204" pitchFamily="34" charset="0"/>
              </a:rPr>
              <a:t>Aggregated RAS status for the purpose of this summary is based on expert judgment and reviewed by ERMC prior to RC and Board. 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387150"/>
              </p:ext>
            </p:extLst>
          </p:nvPr>
        </p:nvGraphicFramePr>
        <p:xfrm>
          <a:off x="365786" y="718658"/>
          <a:ext cx="8863940" cy="45657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6394"/>
                <a:gridCol w="7977546"/>
              </a:tblGrid>
              <a:tr h="1537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 Metrics Summary, Assessment &amp; Key Actions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68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egic</a:t>
                      </a:r>
                      <a:endParaRPr lang="en-US" sz="9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 </a:t>
                      </a:r>
                      <a:endParaRPr lang="en-US" sz="900" u="none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0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quacy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.</a:t>
                      </a:r>
                      <a:endParaRPr lang="en-US" sz="9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 Rating Exposure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 at 6,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ove </a:t>
                      </a:r>
                      <a:r>
                        <a:rPr lang="en-US" sz="9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imit by 6.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ily the result of an OCC directive to risk rate CRE Construction transactions as low pass, causing otherwise strong One Obligor relationships to not reach the 5.0 risk rating hurdle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ch escalated. Action plans (late as of 6/16) are in development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Multifamily exposure</a:t>
                      </a:r>
                      <a:r>
                        <a:rPr lang="en-US" sz="9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reaches $10.7B in </a:t>
                      </a:r>
                      <a:r>
                        <a:rPr lang="en-US" sz="900" b="1" i="0" u="none" strike="noStrike" kern="120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sng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due to an increase in Commercial Real Estate (CRE) investment. Business is seeing a decrease in multi-family in 2016 while Enterprise Risk Management is showing an increase because investment CRE is included in the total exposure. 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.</a:t>
                      </a:r>
                      <a:endParaRPr lang="en-US" sz="9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 Funding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 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 due to SC system issue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etite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sng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 is within appetite. Due to repeated late delivery of first line model documentation from the Fair Lending team, the overall status is set to </a:t>
                      </a:r>
                      <a:r>
                        <a:rPr lang="en-US" sz="900" b="1" i="0" u="none" strike="noStrike" kern="1200" baseline="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until this is resolved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re is potential late delivery of first line documentation from Madrid for market risk models but MRMG has a contingency plan is in place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23 MR(I)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June 31;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T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s addressing MR(I)As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8571634" y="894512"/>
            <a:ext cx="1819275" cy="10850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lined items pending update</a:t>
            </a:r>
          </a:p>
        </p:txBody>
      </p:sp>
    </p:spTree>
    <p:extLst>
      <p:ext uri="{BB962C8B-B14F-4D97-AF65-F5344CB8AC3E}">
        <p14:creationId xmlns:p14="http://schemas.microsoft.com/office/powerpoint/2010/main" val="4121169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92786"/>
              </p:ext>
            </p:extLst>
          </p:nvPr>
        </p:nvGraphicFramePr>
        <p:xfrm>
          <a:off x="352425" y="486643"/>
          <a:ext cx="8905874" cy="2105607"/>
        </p:xfrm>
        <a:graphic>
          <a:graphicData uri="http://schemas.openxmlformats.org/drawingml/2006/table">
            <a:tbl>
              <a:tblPr firstRow="1" bandRow="1"/>
              <a:tblGrid>
                <a:gridCol w="742950"/>
                <a:gridCol w="837808"/>
                <a:gridCol w="1272920"/>
                <a:gridCol w="869228"/>
                <a:gridCol w="869228"/>
                <a:gridCol w="770441"/>
                <a:gridCol w="613551"/>
                <a:gridCol w="632979"/>
                <a:gridCol w="2296769"/>
              </a:tblGrid>
              <a:tr h="147299">
                <a:tc gridSpan="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9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en-US" sz="9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limit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on Plan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9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48014" marR="48014">
                    <a:lnL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RT plans addressing</a:t>
                      </a: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MR(I)As</a:t>
                      </a:r>
                      <a:endParaRPr lang="en-US" sz="9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4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9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9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.</a:t>
                      </a:r>
                    </a:p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u="sng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824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kern="1200" baseline="30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</a:t>
                      </a: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osure</a:t>
                      </a:r>
                      <a:r>
                        <a:rPr lang="en-US" sz="9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7B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.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66744" y="248488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2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. Risk Appetite </a:t>
            </a: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Statement 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– Amber and Red metrics</a:t>
            </a:r>
            <a:endParaRPr lang="en-US" sz="20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0" name="Footnote"/>
          <p:cNvSpPr/>
          <p:nvPr/>
        </p:nvSpPr>
        <p:spPr bwMode="auto">
          <a:xfrm>
            <a:off x="1979523" y="6566315"/>
            <a:ext cx="8903637" cy="27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1" algn="l"/>
            <a:endParaRPr lang="en-US" sz="70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#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of counterparties with </a:t>
            </a:r>
            <a:r>
              <a:rPr lang="en-US" sz="7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700" dirty="0" smtClean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  <a:endParaRPr lang="en-US" sz="700" dirty="0">
              <a:ea typeface="ＭＳ Ｐゴシック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783512" y="0"/>
            <a:ext cx="1819275" cy="10850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lined items pending update</a:t>
            </a:r>
          </a:p>
        </p:txBody>
      </p:sp>
    </p:spTree>
    <p:extLst>
      <p:ext uri="{BB962C8B-B14F-4D97-AF65-F5344CB8AC3E}">
        <p14:creationId xmlns:p14="http://schemas.microsoft.com/office/powerpoint/2010/main" val="340603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1807955"/>
              </p:ext>
            </p:extLst>
          </p:nvPr>
        </p:nvGraphicFramePr>
        <p:xfrm>
          <a:off x="349319" y="660285"/>
          <a:ext cx="8905310" cy="2359152"/>
        </p:xfrm>
        <a:graphic>
          <a:graphicData uri="http://schemas.openxmlformats.org/drawingml/2006/table">
            <a:tbl>
              <a:tblPr firstRow="1" bandRow="1"/>
              <a:tblGrid>
                <a:gridCol w="718022"/>
                <a:gridCol w="1699938"/>
                <a:gridCol w="795138"/>
                <a:gridCol w="632468"/>
                <a:gridCol w="632468"/>
                <a:gridCol w="632468"/>
                <a:gridCol w="632468"/>
                <a:gridCol w="632468"/>
                <a:gridCol w="632468"/>
                <a:gridCol w="632468"/>
                <a:gridCol w="632468"/>
                <a:gridCol w="632468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line scenario</a:t>
                      </a: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 Stress scenario</a:t>
                      </a:r>
                    </a:p>
                  </a:txBody>
                  <a:tcPr marL="36576" marR="36576" marT="36576" marB="3657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tress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438912">
                <a:tc row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tios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Common Equity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1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07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41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5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Risk-based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60%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55%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16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3.5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37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0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50%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8%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5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4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03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3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 1 Risk-based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7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65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4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9" name="Footnote"/>
          <p:cNvSpPr/>
          <p:nvPr/>
        </p:nvSpPr>
        <p:spPr>
          <a:xfrm>
            <a:off x="2228518" y="6332539"/>
            <a:ext cx="5000958" cy="430887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rrespond to “Worst Quarter” complementary metrics in Group RAS</a:t>
            </a: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2015</a:t>
            </a: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7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72254" y="60178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1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86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706399"/>
              </p:ext>
            </p:extLst>
          </p:nvPr>
        </p:nvGraphicFramePr>
        <p:xfrm>
          <a:off x="348436" y="704215"/>
          <a:ext cx="8906195" cy="5384927"/>
        </p:xfrm>
        <a:graphic>
          <a:graphicData uri="http://schemas.openxmlformats.org/drawingml/2006/table">
            <a:tbl>
              <a:tblPr firstRow="1" bandRow="1"/>
              <a:tblGrid>
                <a:gridCol w="995871"/>
                <a:gridCol w="2441801"/>
                <a:gridCol w="807780"/>
                <a:gridCol w="708685"/>
                <a:gridCol w="838324"/>
                <a:gridCol w="838324"/>
                <a:gridCol w="838324"/>
                <a:gridCol w="718543"/>
                <a:gridCol w="718543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46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C Tota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 RWA</a:t>
                      </a:r>
                      <a:endParaRPr lang="en-US" sz="1000" b="0" i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1B (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(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0B (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(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- $2BN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39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 of CET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41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74193">
                <a:tc rowSpan="6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m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%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1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8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0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6441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4%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1.4% 	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1.4% 	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/61+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PD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Retail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7%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%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7%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4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1% 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3% 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4.3% 	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7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rowSpan="1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concentration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 (Corporates &amp; FIs)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500M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4 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07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5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Obligo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Industry Exposure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&amp;</a:t>
                      </a:r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surance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1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5B</a:t>
                      </a: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6B</a:t>
                      </a: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9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ultifamily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lic Sector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6M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3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43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46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 Assets</a:t>
                      </a:r>
                      <a:r>
                        <a:rPr lang="en-US" sz="100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29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30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Subprime Asse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372254" y="61321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2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otnote"/>
          <p:cNvSpPr/>
          <p:nvPr/>
        </p:nvSpPr>
        <p:spPr>
          <a:xfrm>
            <a:off x="2228517" y="6151564"/>
            <a:ext cx="5305757" cy="741037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8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8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800" dirty="0">
                <a:latin typeface="Arial"/>
                <a:ea typeface="ＭＳ Ｐゴシック"/>
                <a:sym typeface="Arial"/>
              </a:rPr>
              <a:t>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800" dirty="0">
                <a:latin typeface="Arial"/>
                <a:ea typeface="ＭＳ Ｐゴシック"/>
                <a:sym typeface="Arial"/>
              </a:rPr>
              <a:t>Abbreviation for Personal Lending – Lending Club (sold on Feb 1</a:t>
            </a:r>
            <a:r>
              <a:rPr lang="en-US" sz="800" baseline="30000" dirty="0">
                <a:latin typeface="Arial"/>
                <a:ea typeface="ＭＳ Ｐゴシック"/>
                <a:sym typeface="Arial"/>
              </a:rPr>
              <a:t>st</a:t>
            </a:r>
            <a:r>
              <a:rPr lang="en-US" sz="800" dirty="0">
                <a:latin typeface="Arial"/>
                <a:ea typeface="ＭＳ Ｐゴシック"/>
                <a:sym typeface="Arial"/>
              </a:rPr>
              <a:t>), Bluestem &amp; NCL (Held for Sale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800" dirty="0">
                <a:latin typeface="Arial"/>
                <a:ea typeface="ＭＳ Ｐゴシック"/>
                <a:sym typeface="Arial"/>
              </a:rPr>
              <a:t># of counterparties with </a:t>
            </a:r>
            <a:r>
              <a:rPr lang="en-US" sz="8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8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8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8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800" dirty="0">
                <a:ea typeface="ＭＳ Ｐゴシック"/>
              </a:rPr>
              <a:t>Subprime is defined as FICO &lt; 630 or no FICO score available (excluding Commercial Fleet s</a:t>
            </a:r>
            <a:r>
              <a:rPr lang="en-US" sz="800" dirty="0" smtClean="0">
                <a:ea typeface="ＭＳ Ｐゴシック"/>
              </a:rPr>
              <a:t>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8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800" dirty="0" smtClean="0">
                <a:solidFill>
                  <a:srgbClr val="000000"/>
                </a:solidFill>
                <a:ea typeface="ＭＳ Ｐゴシック"/>
              </a:rPr>
              <a:t>2015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800" dirty="0" smtClean="0">
                <a:solidFill>
                  <a:srgbClr val="000000"/>
                </a:solidFill>
                <a:ea typeface="ＭＳ Ｐゴシック"/>
              </a:rPr>
              <a:t>Start to report in June 2016</a:t>
            </a:r>
            <a:endParaRPr lang="en-US" sz="800" dirty="0" smtClean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4829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158979"/>
              </p:ext>
            </p:extLst>
          </p:nvPr>
        </p:nvGraphicFramePr>
        <p:xfrm>
          <a:off x="348436" y="704215"/>
          <a:ext cx="8906195" cy="4897120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24929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valu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isk / CRLIT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8%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3%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32%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5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funding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ess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ays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 days</a:t>
                      </a:r>
                      <a:endParaRPr lang="en-US" sz="1000" b="1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ays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 – EUR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1%</a:t>
                      </a:r>
                      <a:endParaRPr lang="en-US" sz="1000" b="1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4%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6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Coverage Ratio Modified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U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6%</a:t>
                      </a:r>
                      <a:endParaRPr lang="en-US" sz="1000" b="1" i="0" kern="1200" dirty="0" smtClean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uctural Funding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io (%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%</a:t>
                      </a:r>
                      <a:endParaRPr lang="en-US" sz="1000" b="1" i="0" kern="1200" dirty="0" smtClean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360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Horizon - 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esale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arent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ly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90 Months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Month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6 Months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Asset Encumbrance (%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%</a:t>
                      </a:r>
                      <a:endParaRPr lang="en-US" sz="1000" b="1" i="0" kern="1200" dirty="0" smtClean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NII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.3%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7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3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4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5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VE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.3%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92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20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6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7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 (</a:t>
                      </a:r>
                      <a:r>
                        <a:rPr lang="en-US" sz="1000" b="0" i="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1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9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17673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/o Appropriate Approval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: 59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BN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ther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otal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69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HUS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18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– 35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100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– 3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0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– 26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51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6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48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2016 – 11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Q2016 – 103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2016 – 4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3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ootnote"/>
          <p:cNvSpPr/>
          <p:nvPr/>
        </p:nvSpPr>
        <p:spPr>
          <a:xfrm>
            <a:off x="2247567" y="6212932"/>
            <a:ext cx="5305757" cy="926536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/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Portfolio 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As of February 2016. Metric is on a 2-month lag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CRLIT Contract Residual less Incentives and Tax; NII: Net Interest Income; MVE: Market Value of Equity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</a:rPr>
              <a:t>Updated limit from 2015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Metric is delayed due to SC system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error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/>
              <a:t>IHC exposures will be paired to the SHUSA IHC limits with July end figures.</a:t>
            </a:r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72254" y="6189260"/>
            <a:ext cx="2327430" cy="125740"/>
            <a:chOff x="372254" y="5975278"/>
            <a:chExt cx="2327430" cy="125740"/>
          </a:xfrm>
        </p:grpSpPr>
        <p:sp>
          <p:nvSpPr>
            <p:cNvPr id="21" name="TextBox 20"/>
            <p:cNvSpPr txBox="1"/>
            <p:nvPr/>
          </p:nvSpPr>
          <p:spPr>
            <a:xfrm>
              <a:off x="84020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44087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372254" y="6017810"/>
            <a:ext cx="593022" cy="119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b="1" dirty="0" smtClean="0"/>
              <a:t>Legend</a:t>
            </a:r>
            <a:endParaRPr lang="en-GB" sz="9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Quarterly / Annual Metrics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742921"/>
              </p:ext>
            </p:extLst>
          </p:nvPr>
        </p:nvGraphicFramePr>
        <p:xfrm>
          <a:off x="348436" y="2104390"/>
          <a:ext cx="8894248" cy="755904"/>
        </p:xfrm>
        <a:graphic>
          <a:graphicData uri="http://schemas.openxmlformats.org/drawingml/2006/table">
            <a:tbl>
              <a:tblPr firstRow="1" bandRow="1"/>
              <a:tblGrid>
                <a:gridCol w="1225183"/>
                <a:gridCol w="3147237"/>
                <a:gridCol w="850604"/>
                <a:gridCol w="871870"/>
                <a:gridCol w="1031358"/>
                <a:gridCol w="883998"/>
                <a:gridCol w="883998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135420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 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,913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651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87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oss in Stress</a:t>
                      </a:r>
                      <a:r>
                        <a:rPr lang="en-US" sz="1000" b="1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redit Losses </a:t>
                      </a: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,750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1,753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2,137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1" name="Footnote"/>
          <p:cNvSpPr/>
          <p:nvPr/>
        </p:nvSpPr>
        <p:spPr>
          <a:xfrm>
            <a:off x="2228517" y="6208714"/>
            <a:ext cx="5305757" cy="277961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level granularity available in Entity RAS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  <a:endParaRPr lang="en-US" sz="700" dirty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72254" y="6017810"/>
            <a:ext cx="2316000" cy="125740"/>
            <a:chOff x="372254" y="5975278"/>
            <a:chExt cx="2316000" cy="125740"/>
          </a:xfrm>
        </p:grpSpPr>
        <p:sp>
          <p:nvSpPr>
            <p:cNvPr id="13" name="TextBox 12"/>
            <p:cNvSpPr txBox="1"/>
            <p:nvPr/>
          </p:nvSpPr>
          <p:spPr>
            <a:xfrm>
              <a:off x="82877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1676433"/>
              </p:ext>
            </p:extLst>
          </p:nvPr>
        </p:nvGraphicFramePr>
        <p:xfrm>
          <a:off x="348436" y="704215"/>
          <a:ext cx="8906195" cy="1129792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5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397687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 risk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Gross Operation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Margin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2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.96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60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144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664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395878"/>
              </p:ext>
            </p:extLst>
          </p:nvPr>
        </p:nvGraphicFramePr>
        <p:xfrm>
          <a:off x="350838" y="944245"/>
          <a:ext cx="8891847" cy="1112520"/>
        </p:xfrm>
        <a:graphic>
          <a:graphicData uri="http://schemas.openxmlformats.org/drawingml/2006/table">
            <a:tbl>
              <a:tblPr firstRow="1" bandRow="1"/>
              <a:tblGrid>
                <a:gridCol w="1297900"/>
                <a:gridCol w="2325179"/>
                <a:gridCol w="969557"/>
                <a:gridCol w="898114"/>
                <a:gridCol w="1133699"/>
                <a:gridCol w="1133699"/>
                <a:gridCol w="1133699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Jun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 16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Mar 16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Additional metric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 t</a:t>
                      </a: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hreshold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adequacy</a:t>
                      </a:r>
                    </a:p>
                  </a:txBody>
                  <a:tcPr marL="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Loss impact on trading portfolio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GCB Concentration Risk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28M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5. Additional metrics </a:t>
            </a:r>
            <a:r>
              <a:rPr lang="en-US" dirty="0"/>
              <a:t>required for Group reporting only </a:t>
            </a:r>
            <a:r>
              <a:rPr lang="en-US" dirty="0" smtClean="0"/>
              <a:t>(1/3</a:t>
            </a:r>
            <a:r>
              <a:rPr lang="en-US" dirty="0"/>
              <a:t>)</a:t>
            </a:r>
            <a:endParaRPr lang="en-GB" dirty="0"/>
          </a:p>
        </p:txBody>
      </p:sp>
      <p:sp>
        <p:nvSpPr>
          <p:cNvPr id="7" name="Footnote"/>
          <p:cNvSpPr/>
          <p:nvPr/>
        </p:nvSpPr>
        <p:spPr>
          <a:xfrm>
            <a:off x="2228518" y="6332539"/>
            <a:ext cx="5000958" cy="92654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/>
            <a:r>
              <a:rPr lang="en-US" sz="700" dirty="0">
                <a:latin typeface="Arial"/>
                <a:ea typeface="ＭＳ Ｐゴシック"/>
                <a:sym typeface="Arial"/>
              </a:rPr>
              <a:t>See Metric Glossary in appendix for metric definition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850835"/>
              </p:ext>
            </p:extLst>
          </p:nvPr>
        </p:nvGraphicFramePr>
        <p:xfrm>
          <a:off x="350838" y="2249170"/>
          <a:ext cx="8888413" cy="3337560"/>
        </p:xfrm>
        <a:graphic>
          <a:graphicData uri="http://schemas.openxmlformats.org/drawingml/2006/table">
            <a:tbl>
              <a:tblPr firstRow="1" bandRow="1"/>
              <a:tblGrid>
                <a:gridCol w="1486988"/>
                <a:gridCol w="2663928"/>
                <a:gridCol w="1110809"/>
                <a:gridCol w="1028958"/>
                <a:gridCol w="1298865"/>
                <a:gridCol w="1298865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Mar 16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Additional metric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 t</a:t>
                      </a: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hreshold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 rowSpan="8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adequacy</a:t>
                      </a:r>
                    </a:p>
                  </a:txBody>
                  <a:tcPr marL="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ax deterioration in CET1 from base case to stressed case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50 bp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70 bp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Jump to Default Top 5 over CET1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20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ps 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50 bp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Impact of CVA stress</a:t>
                      </a:r>
                      <a:endParaRPr lang="en-US" sz="11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$3.2M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p Risk stressed</a:t>
                      </a:r>
                      <a:r>
                        <a:rPr lang="en-US" sz="11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losses</a:t>
                      </a:r>
                      <a:endParaRPr lang="en-US" sz="1100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6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Worst forecasted</a:t>
                      </a:r>
                      <a:r>
                        <a:rPr lang="en-US" sz="11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CET1 fully loaded ratio under normal conditions</a:t>
                      </a:r>
                      <a:endParaRPr lang="en-US" sz="1100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4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Worst forecasted</a:t>
                      </a:r>
                      <a:r>
                        <a:rPr lang="en-US" sz="11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CET1 fully loaded ratio under stressed conditions</a:t>
                      </a:r>
                      <a:endParaRPr lang="en-US" sz="1100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1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5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Worst forecasted</a:t>
                      </a:r>
                      <a:r>
                        <a:rPr lang="en-US" sz="11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Tier 1 Leverage fully loaded ratio under normal conditions</a:t>
                      </a:r>
                      <a:endParaRPr lang="en-US" sz="1100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baseline="30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00%</a:t>
                      </a:r>
                      <a:endParaRPr lang="en-US" sz="1100" b="0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Worst forecasted</a:t>
                      </a:r>
                      <a:r>
                        <a:rPr lang="en-US" sz="11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Tier 1 Leverage fully loaded ratio under stressed conditions</a:t>
                      </a:r>
                      <a:endParaRPr lang="en-US" sz="1100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baseline="30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03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3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012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2172307"/>
              </p:ext>
            </p:extLst>
          </p:nvPr>
        </p:nvGraphicFramePr>
        <p:xfrm>
          <a:off x="350838" y="944245"/>
          <a:ext cx="8891847" cy="2834640"/>
        </p:xfrm>
        <a:graphic>
          <a:graphicData uri="http://schemas.openxmlformats.org/drawingml/2006/table">
            <a:tbl>
              <a:tblPr firstRow="1" bandRow="1"/>
              <a:tblGrid>
                <a:gridCol w="1297900"/>
                <a:gridCol w="2325179"/>
                <a:gridCol w="969557"/>
                <a:gridCol w="898114"/>
                <a:gridCol w="1133699"/>
                <a:gridCol w="1133699"/>
                <a:gridCol w="1133699"/>
              </a:tblGrid>
              <a:tr h="14710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11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Jun 16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Mar 16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Additional metric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 t</a:t>
                      </a: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hreshold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0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losses)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t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Credit</a:t>
                      </a:r>
                      <a:endParaRPr lang="en-US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8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06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%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PL Entries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VMG)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9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2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0.4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PL Coverage Ratio (%)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8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8%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25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04899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(concentration)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op 20 Financial Institutions</a:t>
                      </a:r>
                      <a:r>
                        <a:rPr lang="en-US" sz="11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exposure</a:t>
                      </a:r>
                      <a:endParaRPr lang="en-US" sz="1100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9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7.0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48014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rge exposures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4%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5. Additional </a:t>
            </a:r>
            <a:r>
              <a:rPr lang="en-US" dirty="0"/>
              <a:t>metrics required for Group reporting only </a:t>
            </a:r>
            <a:r>
              <a:rPr lang="en-US" dirty="0" smtClean="0"/>
              <a:t>(</a:t>
            </a:r>
            <a:r>
              <a:rPr lang="en-US" dirty="0"/>
              <a:t>2</a:t>
            </a:r>
            <a:r>
              <a:rPr lang="en-US" dirty="0" smtClean="0"/>
              <a:t>/3)</a:t>
            </a:r>
            <a:endParaRPr lang="en-GB" dirty="0"/>
          </a:p>
        </p:txBody>
      </p:sp>
      <p:sp>
        <p:nvSpPr>
          <p:cNvPr id="5" name="Footnote"/>
          <p:cNvSpPr/>
          <p:nvPr/>
        </p:nvSpPr>
        <p:spPr>
          <a:xfrm>
            <a:off x="2228518" y="6332539"/>
            <a:ext cx="5000958" cy="92654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/>
            <a:r>
              <a:rPr lang="en-US" sz="700" dirty="0">
                <a:latin typeface="Arial"/>
                <a:ea typeface="ＭＳ Ｐゴシック"/>
                <a:sym typeface="Arial"/>
              </a:rPr>
              <a:t>See Metric Glossary in appendix for metric definitions</a:t>
            </a:r>
          </a:p>
        </p:txBody>
      </p:sp>
    </p:spTree>
    <p:extLst>
      <p:ext uri="{BB962C8B-B14F-4D97-AF65-F5344CB8AC3E}">
        <p14:creationId xmlns:p14="http://schemas.microsoft.com/office/powerpoint/2010/main" val="2931283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7747</TotalTime>
  <Words>2026</Words>
  <Application>Microsoft Office PowerPoint</Application>
  <PresentationFormat>Custom</PresentationFormat>
  <Paragraphs>706</Paragraphs>
  <Slides>10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Zhang, Zhiyi</cp:lastModifiedBy>
  <cp:revision>1428</cp:revision>
  <cp:lastPrinted>2016-08-01T13:37:06Z</cp:lastPrinted>
  <dcterms:created xsi:type="dcterms:W3CDTF">2016-03-28T17:49:32Z</dcterms:created>
  <dcterms:modified xsi:type="dcterms:W3CDTF">2016-08-03T15:2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